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8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F9-45BD-B03A-DA4A465008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F9-45BD-B03A-DA4A465008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F9-45BD-B03A-DA4A46500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67-43FD-A754-35F4964E79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67-43FD-A754-35F4964E79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FC26A-A7DF-331A-B083-EFCAFB03D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D4CE6F1-DAD4-F303-2036-41CA7ED8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4CE6F1-DAD4-F303-2036-41CA7ED8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910F21BB-AE75-12C2-B31E-EFD9067B3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Column / 100% Stacked Area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222E6C-86A5-7A0E-A443-FD15D41F4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3F749A8A-9D92-1FAB-2A10-D977A951E3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6109FB04-621F-6DE7-1182-2AEF92B70A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33FC5B59-41E7-3D76-184E-93D28A3B725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EF83C00A-771E-BAB4-0B0C-9EFCFDDB16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5430935D-2251-58AD-6519-2332483925F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/>
        <p:txBody>
          <a:bodyPr/>
          <a:lstStyle/>
          <a:p>
            <a:endParaRPr lang="en-PH"/>
          </a:p>
        </p:txBody>
      </p:sp>
      <p:graphicFrame>
        <p:nvGraphicFramePr>
          <p:cNvPr id="15" name="Chart Placeholder 9">
            <a:extLst>
              <a:ext uri="{FF2B5EF4-FFF2-40B4-BE49-F238E27FC236}">
                <a16:creationId xmlns:a16="http://schemas.microsoft.com/office/drawing/2014/main" id="{C228AE54-0622-2732-141B-1A9AB53EA41C}"/>
              </a:ext>
            </a:extLst>
          </p:cNvPr>
          <p:cNvGraphicFramePr>
            <a:graphicFrameLocks/>
          </p:cNvGraphicFramePr>
          <p:nvPr/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6560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1</TotalTime>
  <Words>25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Column / 100% 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43</cp:revision>
  <dcterms:created xsi:type="dcterms:W3CDTF">2025-07-09T10:57:17Z</dcterms:created>
  <dcterms:modified xsi:type="dcterms:W3CDTF">2025-10-22T10:06:23Z</dcterms:modified>
  <cp:category/>
</cp:coreProperties>
</file>